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3" r:id="rId1"/>
  </p:sldMasterIdLst>
  <p:sldIdLst>
    <p:sldId id="256" r:id="rId2"/>
    <p:sldId id="258" r:id="rId3"/>
    <p:sldId id="260" r:id="rId4"/>
    <p:sldId id="261" r:id="rId5"/>
    <p:sldId id="262" r:id="rId6"/>
    <p:sldId id="263" r:id="rId7"/>
    <p:sldId id="264" r:id="rId8"/>
    <p:sldId id="265" r:id="rId9"/>
    <p:sldId id="266" r:id="rId10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9D6412B-D7A9-4CEE-96A9-D137DA64A2EE}" v="179" dt="2021-03-22T08:36:13.91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695" autoAdjust="0"/>
    <p:restoredTop sz="94660"/>
  </p:normalViewPr>
  <p:slideViewPr>
    <p:cSldViewPr snapToGrid="0">
      <p:cViewPr varScale="1">
        <p:scale>
          <a:sx n="222" d="100"/>
          <a:sy n="222" d="100"/>
        </p:scale>
        <p:origin x="208" y="6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gor Stojanovic" userId="89c1629f-65e0-4913-a593-3d1bbcf29852" providerId="ADAL" clId="{89D6412B-D7A9-4CEE-96A9-D137DA64A2EE}"/>
    <pc:docChg chg="undo custSel addSld delSld modSld">
      <pc:chgData name="Igor Stojanovic" userId="89c1629f-65e0-4913-a593-3d1bbcf29852" providerId="ADAL" clId="{89D6412B-D7A9-4CEE-96A9-D137DA64A2EE}" dt="2021-03-22T08:36:09.387" v="430" actId="47"/>
      <pc:docMkLst>
        <pc:docMk/>
      </pc:docMkLst>
      <pc:sldChg chg="addSp delSp modSp del">
        <pc:chgData name="Igor Stojanovic" userId="89c1629f-65e0-4913-a593-3d1bbcf29852" providerId="ADAL" clId="{89D6412B-D7A9-4CEE-96A9-D137DA64A2EE}" dt="2021-03-22T08:36:09.387" v="430" actId="47"/>
        <pc:sldMkLst>
          <pc:docMk/>
          <pc:sldMk cId="3643302356" sldId="257"/>
        </pc:sldMkLst>
        <pc:spChg chg="del">
          <ac:chgData name="Igor Stojanovic" userId="89c1629f-65e0-4913-a593-3d1bbcf29852" providerId="ADAL" clId="{89D6412B-D7A9-4CEE-96A9-D137DA64A2EE}" dt="2021-03-22T08:31:56.940" v="263" actId="21"/>
          <ac:spMkLst>
            <pc:docMk/>
            <pc:sldMk cId="3643302356" sldId="257"/>
            <ac:spMk id="3" creationId="{8F3D2282-1F30-4752-A378-C25549006071}"/>
          </ac:spMkLst>
        </pc:spChg>
        <pc:spChg chg="add mod">
          <ac:chgData name="Igor Stojanovic" userId="89c1629f-65e0-4913-a593-3d1bbcf29852" providerId="ADAL" clId="{89D6412B-D7A9-4CEE-96A9-D137DA64A2EE}" dt="2021-03-22T08:31:56.940" v="263" actId="21"/>
          <ac:spMkLst>
            <pc:docMk/>
            <pc:sldMk cId="3643302356" sldId="257"/>
            <ac:spMk id="8" creationId="{8BE7D186-B974-460F-B4E9-54F3362DB536}"/>
          </ac:spMkLst>
        </pc:spChg>
        <pc:picChg chg="del">
          <ac:chgData name="Igor Stojanovic" userId="89c1629f-65e0-4913-a593-3d1bbcf29852" providerId="ADAL" clId="{89D6412B-D7A9-4CEE-96A9-D137DA64A2EE}" dt="2021-03-22T08:31:56.940" v="263" actId="21"/>
          <ac:picMkLst>
            <pc:docMk/>
            <pc:sldMk cId="3643302356" sldId="257"/>
            <ac:picMk id="1028" creationId="{A63B4B43-13C6-4DB4-ABC5-752067594CD4}"/>
          </ac:picMkLst>
        </pc:picChg>
      </pc:sldChg>
      <pc:sldChg chg="addSp delSp modSp new add mod">
        <pc:chgData name="Igor Stojanovic" userId="89c1629f-65e0-4913-a593-3d1bbcf29852" providerId="ADAL" clId="{89D6412B-D7A9-4CEE-96A9-D137DA64A2EE}" dt="2021-03-22T08:28:42.591" v="128" actId="732"/>
        <pc:sldMkLst>
          <pc:docMk/>
          <pc:sldMk cId="1539892328" sldId="265"/>
        </pc:sldMkLst>
        <pc:spChg chg="mod">
          <ac:chgData name="Igor Stojanovic" userId="89c1629f-65e0-4913-a593-3d1bbcf29852" providerId="ADAL" clId="{89D6412B-D7A9-4CEE-96A9-D137DA64A2EE}" dt="2021-03-22T08:28:00.144" v="87" actId="948"/>
          <ac:spMkLst>
            <pc:docMk/>
            <pc:sldMk cId="1539892328" sldId="265"/>
            <ac:spMk id="2" creationId="{D2464FB4-97B0-4B63-8DD9-31D9A5E2A480}"/>
          </ac:spMkLst>
        </pc:spChg>
        <pc:spChg chg="del">
          <ac:chgData name="Igor Stojanovic" userId="89c1629f-65e0-4913-a593-3d1bbcf29852" providerId="ADAL" clId="{89D6412B-D7A9-4CEE-96A9-D137DA64A2EE}" dt="2021-03-22T08:28:32.492" v="127"/>
          <ac:spMkLst>
            <pc:docMk/>
            <pc:sldMk cId="1539892328" sldId="265"/>
            <ac:spMk id="3" creationId="{A711CF56-1F15-4ED7-A64A-3C4183CD5C8B}"/>
          </ac:spMkLst>
        </pc:spChg>
        <pc:spChg chg="add del mod modVis">
          <ac:chgData name="Igor Stojanovic" userId="89c1629f-65e0-4913-a593-3d1bbcf29852" providerId="ADAL" clId="{89D6412B-D7A9-4CEE-96A9-D137DA64A2EE}" dt="2021-03-22T08:27:57.237" v="76"/>
          <ac:spMkLst>
            <pc:docMk/>
            <pc:sldMk cId="1539892328" sldId="265"/>
            <ac:spMk id="5" creationId="{BAC4C836-C10B-4345-8BDB-7426080EC4CF}"/>
          </ac:spMkLst>
        </pc:spChg>
        <pc:spChg chg="add del mod modVis">
          <ac:chgData name="Igor Stojanovic" userId="89c1629f-65e0-4913-a593-3d1bbcf29852" providerId="ADAL" clId="{89D6412B-D7A9-4CEE-96A9-D137DA64A2EE}" dt="2021-03-22T08:28:00.209" v="124"/>
          <ac:spMkLst>
            <pc:docMk/>
            <pc:sldMk cId="1539892328" sldId="265"/>
            <ac:spMk id="6" creationId="{E4C90A23-66E6-4D57-8326-D7E3B34FA506}"/>
          </ac:spMkLst>
        </pc:spChg>
        <pc:graphicFrameChg chg="add mod ord modVis">
          <ac:chgData name="Igor Stojanovic" userId="89c1629f-65e0-4913-a593-3d1bbcf29852" providerId="ADAL" clId="{89D6412B-D7A9-4CEE-96A9-D137DA64A2EE}" dt="2021-03-22T08:28:00.213" v="126"/>
          <ac:graphicFrameMkLst>
            <pc:docMk/>
            <pc:sldMk cId="1539892328" sldId="265"/>
            <ac:graphicFrameMk id="4" creationId="{5DDEC545-62BC-4BAB-8728-9ED27223FF7E}"/>
          </ac:graphicFrameMkLst>
        </pc:graphicFrameChg>
        <pc:picChg chg="add mod">
          <ac:chgData name="Igor Stojanovic" userId="89c1629f-65e0-4913-a593-3d1bbcf29852" providerId="ADAL" clId="{89D6412B-D7A9-4CEE-96A9-D137DA64A2EE}" dt="2021-03-22T08:28:42.591" v="128" actId="732"/>
          <ac:picMkLst>
            <pc:docMk/>
            <pc:sldMk cId="1539892328" sldId="265"/>
            <ac:picMk id="2050" creationId="{A0209A3C-CF02-46BC-8D7F-15BA81E279C4}"/>
          </ac:picMkLst>
        </pc:picChg>
      </pc:sldChg>
      <pc:sldChg chg="addSp delSp modSp new add mod">
        <pc:chgData name="Igor Stojanovic" userId="89c1629f-65e0-4913-a593-3d1bbcf29852" providerId="ADAL" clId="{89D6412B-D7A9-4CEE-96A9-D137DA64A2EE}" dt="2021-03-22T08:36:00.524" v="429" actId="1035"/>
        <pc:sldMkLst>
          <pc:docMk/>
          <pc:sldMk cId="1363724601" sldId="266"/>
        </pc:sldMkLst>
        <pc:spChg chg="mod">
          <ac:chgData name="Igor Stojanovic" userId="89c1629f-65e0-4913-a593-3d1bbcf29852" providerId="ADAL" clId="{89D6412B-D7A9-4CEE-96A9-D137DA64A2EE}" dt="2021-03-22T08:28:55.432" v="132" actId="948"/>
          <ac:spMkLst>
            <pc:docMk/>
            <pc:sldMk cId="1363724601" sldId="266"/>
            <ac:spMk id="2" creationId="{7207BB10-8406-4737-B0C7-57E19E0EA483}"/>
          </ac:spMkLst>
        </pc:spChg>
        <pc:spChg chg="mod">
          <ac:chgData name="Igor Stojanovic" userId="89c1629f-65e0-4913-a593-3d1bbcf29852" providerId="ADAL" clId="{89D6412B-D7A9-4CEE-96A9-D137DA64A2EE}" dt="2021-03-22T08:35:43.133" v="425" actId="20577"/>
          <ac:spMkLst>
            <pc:docMk/>
            <pc:sldMk cId="1363724601" sldId="266"/>
            <ac:spMk id="3" creationId="{0B60B96C-8BDF-415C-A95A-63410D82D80E}"/>
          </ac:spMkLst>
        </pc:spChg>
        <pc:spChg chg="add del mod modVis">
          <ac:chgData name="Igor Stojanovic" userId="89c1629f-65e0-4913-a593-3d1bbcf29852" providerId="ADAL" clId="{89D6412B-D7A9-4CEE-96A9-D137DA64A2EE}" dt="2021-03-22T08:28:55.505" v="169"/>
          <ac:spMkLst>
            <pc:docMk/>
            <pc:sldMk cId="1363724601" sldId="266"/>
            <ac:spMk id="4" creationId="{700A29EC-F1C4-4485-96C0-73F067F6F0FB}"/>
          </ac:spMkLst>
        </pc:spChg>
        <pc:spChg chg="add mod">
          <ac:chgData name="Igor Stojanovic" userId="89c1629f-65e0-4913-a593-3d1bbcf29852" providerId="ADAL" clId="{89D6412B-D7A9-4CEE-96A9-D137DA64A2EE}" dt="2021-03-22T08:32:01.708" v="265" actId="21"/>
          <ac:spMkLst>
            <pc:docMk/>
            <pc:sldMk cId="1363724601" sldId="266"/>
            <ac:spMk id="6" creationId="{2BDD820F-73A9-4471-8CBD-BCD54D529C97}"/>
          </ac:spMkLst>
        </pc:spChg>
        <pc:graphicFrameChg chg="add mod ord modVis">
          <ac:chgData name="Igor Stojanovic" userId="89c1629f-65e0-4913-a593-3d1bbcf29852" providerId="ADAL" clId="{89D6412B-D7A9-4CEE-96A9-D137DA64A2EE}" dt="2021-03-22T08:28:55.546" v="184"/>
          <ac:graphicFrameMkLst>
            <pc:docMk/>
            <pc:sldMk cId="1363724601" sldId="266"/>
            <ac:graphicFrameMk id="5" creationId="{527EFDB1-B293-4206-8EC1-1D50F92194BF}"/>
          </ac:graphicFrameMkLst>
        </pc:graphicFrameChg>
        <pc:picChg chg="add mod">
          <ac:chgData name="Igor Stojanovic" userId="89c1629f-65e0-4913-a593-3d1bbcf29852" providerId="ADAL" clId="{89D6412B-D7A9-4CEE-96A9-D137DA64A2EE}" dt="2021-03-22T08:36:00.524" v="429" actId="1035"/>
          <ac:picMkLst>
            <pc:docMk/>
            <pc:sldMk cId="1363724601" sldId="266"/>
            <ac:picMk id="7" creationId="{9D65BB3F-94D4-42A7-B193-4E6E4821CF0C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920834" y="1346946"/>
            <a:ext cx="10222992" cy="80683"/>
          </a:xfrm>
          <a:prstGeom prst="rect">
            <a:avLst/>
          </a:prstGeom>
          <a:blipFill dpi="0" rotWithShape="1">
            <a:blip r:embed="rId2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6200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920834" y="4299696"/>
            <a:ext cx="10222992" cy="80683"/>
          </a:xfrm>
          <a:prstGeom prst="rect">
            <a:avLst/>
          </a:prstGeom>
          <a:blipFill dpi="0" rotWithShape="1">
            <a:blip r:embed="rId2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175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920834" y="1484779"/>
            <a:ext cx="10222992" cy="2743200"/>
          </a:xfrm>
          <a:prstGeom prst="rect">
            <a:avLst/>
          </a:prstGeom>
          <a:blipFill dpi="0" rotWithShape="1">
            <a:blip r:embed="rId2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10" name="Group 9"/>
          <p:cNvGrpSpPr/>
          <p:nvPr/>
        </p:nvGrpSpPr>
        <p:grpSpPr>
          <a:xfrm>
            <a:off x="9649215" y="4068923"/>
            <a:ext cx="1080904" cy="1080902"/>
            <a:chOff x="9685338" y="4460675"/>
            <a:chExt cx="1080904" cy="1080902"/>
          </a:xfrm>
        </p:grpSpPr>
        <p:sp>
          <p:nvSpPr>
            <p:cNvPr id="11" name="Oval 10"/>
            <p:cNvSpPr/>
            <p:nvPr/>
          </p:nvSpPr>
          <p:spPr>
            <a:xfrm>
              <a:off x="9685338" y="4460675"/>
              <a:ext cx="1080904" cy="1080902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</a14:imgLayer>
                    </a14:imgProps>
                  </a:ext>
                </a:extLst>
              </a:blip>
              <a:srcRect/>
              <a:tile tx="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2" name="Oval 11"/>
            <p:cNvSpPr/>
            <p:nvPr/>
          </p:nvSpPr>
          <p:spPr>
            <a:xfrm>
              <a:off x="9793429" y="4568765"/>
              <a:ext cx="864723" cy="864722"/>
            </a:xfrm>
            <a:prstGeom prst="ellipse">
              <a:avLst/>
            </a:prstGeom>
            <a:noFill/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51560" y="1432223"/>
            <a:ext cx="9966960" cy="3035808"/>
          </a:xfrm>
        </p:spPr>
        <p:txBody>
          <a:bodyPr anchor="ctr">
            <a:noAutofit/>
          </a:bodyPr>
          <a:lstStyle>
            <a:lvl1pPr algn="l">
              <a:lnSpc>
                <a:spcPct val="80000"/>
              </a:lnSpc>
              <a:defRPr sz="9600" cap="all" baseline="0">
                <a:blipFill dpi="0" rotWithShape="1">
                  <a:blip r:embed="rId4"/>
                  <a:srcRect/>
                  <a:tile tx="6350" ty="-127000" sx="65000" sy="64000" flip="none" algn="tl"/>
                </a:blip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69848" y="4389120"/>
            <a:ext cx="7891272" cy="1069848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1"/>
                </a:solidFill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0575E-1F45-4D7B-893C-A9614C9FC59C}" type="datetimeFigureOut">
              <a:rPr lang="de-CH" smtClean="0"/>
              <a:t>22.03.21</a:t>
            </a:fld>
            <a:endParaRPr lang="de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592733" y="4289334"/>
            <a:ext cx="1193868" cy="640080"/>
          </a:xfrm>
        </p:spPr>
        <p:txBody>
          <a:bodyPr/>
          <a:lstStyle>
            <a:lvl1pPr>
              <a:defRPr sz="2800"/>
            </a:lvl1pPr>
          </a:lstStyle>
          <a:p>
            <a:fld id="{B648FF8E-AD32-46ED-BB24-5B840C929D2C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830085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0575E-1F45-4D7B-893C-A9614C9FC59C}" type="datetimeFigureOut">
              <a:rPr lang="de-CH" smtClean="0"/>
              <a:t>22.03.21</a:t>
            </a:fld>
            <a:endParaRPr lang="de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48FF8E-AD32-46ED-BB24-5B840C929D2C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97302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533400"/>
            <a:ext cx="2552700" cy="56388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66800" y="533400"/>
            <a:ext cx="7505700" cy="56388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0575E-1F45-4D7B-893C-A9614C9FC59C}" type="datetimeFigureOut">
              <a:rPr lang="de-CH" smtClean="0"/>
              <a:t>22.03.21</a:t>
            </a:fld>
            <a:endParaRPr lang="de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48FF8E-AD32-46ED-BB24-5B840C929D2C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57898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0575E-1F45-4D7B-893C-A9614C9FC59C}" type="datetimeFigureOut">
              <a:rPr lang="de-CH" smtClean="0"/>
              <a:t>22.03.21</a:t>
            </a:fld>
            <a:endParaRPr lang="de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48FF8E-AD32-46ED-BB24-5B840C929D2C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486260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4917989"/>
            <a:ext cx="12192000" cy="1940010"/>
          </a:xfrm>
          <a:prstGeom prst="rect">
            <a:avLst/>
          </a:prstGeom>
          <a:blipFill dpi="0" rotWithShape="1">
            <a:blip r:embed="rId2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67128" y="1225296"/>
            <a:ext cx="9281160" cy="3520440"/>
          </a:xfrm>
        </p:spPr>
        <p:txBody>
          <a:bodyPr anchor="ctr">
            <a:normAutofit/>
          </a:bodyPr>
          <a:lstStyle>
            <a:lvl1pPr>
              <a:lnSpc>
                <a:spcPct val="80000"/>
              </a:lnSpc>
              <a:defRPr sz="8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65774" y="5020056"/>
            <a:ext cx="9052560" cy="1066800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593667" y="6272784"/>
            <a:ext cx="2644309" cy="365125"/>
          </a:xfrm>
        </p:spPr>
        <p:txBody>
          <a:bodyPr/>
          <a:lstStyle/>
          <a:p>
            <a:fld id="{E560575E-1F45-4D7B-893C-A9614C9FC59C}" type="datetimeFigureOut">
              <a:rPr lang="de-CH" smtClean="0"/>
              <a:t>22.03.21</a:t>
            </a:fld>
            <a:endParaRPr lang="de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182708" y="6272784"/>
            <a:ext cx="6327648" cy="365125"/>
          </a:xfrm>
        </p:spPr>
        <p:txBody>
          <a:bodyPr/>
          <a:lstStyle/>
          <a:p>
            <a:endParaRPr lang="de-CH"/>
          </a:p>
        </p:txBody>
      </p:sp>
      <p:grpSp>
        <p:nvGrpSpPr>
          <p:cNvPr id="8" name="Group 7"/>
          <p:cNvGrpSpPr/>
          <p:nvPr/>
        </p:nvGrpSpPr>
        <p:grpSpPr>
          <a:xfrm>
            <a:off x="897399" y="2325848"/>
            <a:ext cx="1080904" cy="1080902"/>
            <a:chOff x="9685338" y="4460675"/>
            <a:chExt cx="1080904" cy="1080902"/>
          </a:xfrm>
        </p:grpSpPr>
        <p:sp>
          <p:nvSpPr>
            <p:cNvPr id="9" name="Oval 8"/>
            <p:cNvSpPr/>
            <p:nvPr/>
          </p:nvSpPr>
          <p:spPr>
            <a:xfrm>
              <a:off x="9685338" y="4460675"/>
              <a:ext cx="1080904" cy="1080902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</a14:imgLayer>
                    </a14:imgProps>
                  </a:ext>
                </a:extLst>
              </a:blip>
              <a:srcRect/>
              <a:tile tx="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0" name="Oval 9"/>
            <p:cNvSpPr/>
            <p:nvPr/>
          </p:nvSpPr>
          <p:spPr>
            <a:xfrm>
              <a:off x="9793429" y="4568765"/>
              <a:ext cx="864723" cy="864722"/>
            </a:xfrm>
            <a:prstGeom prst="ellipse">
              <a:avLst/>
            </a:prstGeom>
            <a:noFill/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</p:sp>
      </p:grp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3702" y="2506133"/>
            <a:ext cx="1188298" cy="720332"/>
          </a:xfrm>
        </p:spPr>
        <p:txBody>
          <a:bodyPr/>
          <a:lstStyle>
            <a:lvl1pPr>
              <a:defRPr sz="2800"/>
            </a:lvl1pPr>
          </a:lstStyle>
          <a:p>
            <a:fld id="{B648FF8E-AD32-46ED-BB24-5B840C929D2C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618796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69848" y="2194560"/>
            <a:ext cx="4754880" cy="3977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64224" y="2194560"/>
            <a:ext cx="4754880" cy="3977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0575E-1F45-4D7B-893C-A9614C9FC59C}" type="datetimeFigureOut">
              <a:rPr lang="de-CH" smtClean="0"/>
              <a:t>22.03.21</a:t>
            </a:fld>
            <a:endParaRPr lang="de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48FF8E-AD32-46ED-BB24-5B840C929D2C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755943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6800" y="2048256"/>
            <a:ext cx="4754880" cy="640080"/>
          </a:xfrm>
        </p:spPr>
        <p:txBody>
          <a:bodyPr anchor="ctr">
            <a:normAutofit/>
          </a:bodyPr>
          <a:lstStyle>
            <a:lvl1pPr marL="0" indent="0">
              <a:buNone/>
              <a:defRPr sz="2000" b="1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69848" y="2743200"/>
            <a:ext cx="4754880" cy="32918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64224" y="2048256"/>
            <a:ext cx="4754880" cy="640080"/>
          </a:xfrm>
        </p:spPr>
        <p:txBody>
          <a:bodyPr anchor="ctr">
            <a:normAutofit/>
          </a:bodyPr>
          <a:lstStyle>
            <a:lvl1pPr marL="0" indent="0">
              <a:buNone/>
              <a:defRPr sz="2000" b="1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64224" y="2743200"/>
            <a:ext cx="4754880" cy="32918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0575E-1F45-4D7B-893C-A9614C9FC59C}" type="datetimeFigureOut">
              <a:rPr lang="de-CH" smtClean="0"/>
              <a:t>22.03.21</a:t>
            </a:fld>
            <a:endParaRPr lang="de-CH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48FF8E-AD32-46ED-BB24-5B840C929D2C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764481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0575E-1F45-4D7B-893C-A9614C9FC59C}" type="datetimeFigureOut">
              <a:rPr lang="de-CH" smtClean="0"/>
              <a:t>22.03.21</a:t>
            </a:fld>
            <a:endParaRPr lang="de-CH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48FF8E-AD32-46ED-BB24-5B840C929D2C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95499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0575E-1F45-4D7B-893C-A9614C9FC59C}" type="datetimeFigureOut">
              <a:rPr lang="de-CH" smtClean="0"/>
              <a:t>22.03.21</a:t>
            </a:fld>
            <a:endParaRPr lang="de-CH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48FF8E-AD32-46ED-BB24-5B840C929D2C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366440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8303740" y="0"/>
            <a:ext cx="3888259" cy="6857999"/>
          </a:xfrm>
          <a:prstGeom prst="rect">
            <a:avLst/>
          </a:prstGeom>
          <a:blipFill dpi="0" rotWithShape="1">
            <a:blip r:embed="rId2">
              <a:alphaModFix amt="60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49640" y="685800"/>
            <a:ext cx="3200400" cy="1737360"/>
          </a:xfrm>
        </p:spPr>
        <p:txBody>
          <a:bodyPr anchor="b">
            <a:normAutofit/>
          </a:bodyPr>
          <a:lstStyle>
            <a:lvl1pPr>
              <a:defRPr sz="32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685800"/>
            <a:ext cx="6711696" cy="502005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49640" y="2423160"/>
            <a:ext cx="3200400" cy="329184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4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0575E-1F45-4D7B-893C-A9614C9FC59C}" type="datetimeFigureOut">
              <a:rPr lang="de-CH" smtClean="0"/>
              <a:t>22.03.21</a:t>
            </a:fld>
            <a:endParaRPr lang="de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grpSp>
        <p:nvGrpSpPr>
          <p:cNvPr id="9" name="Group 8"/>
          <p:cNvGrpSpPr>
            <a:grpSpLocks noChangeAspect="1"/>
          </p:cNvGrpSpPr>
          <p:nvPr/>
        </p:nvGrpSpPr>
        <p:grpSpPr>
          <a:xfrm>
            <a:off x="11401725" y="6229681"/>
            <a:ext cx="457200" cy="457200"/>
            <a:chOff x="11361456" y="6195813"/>
            <a:chExt cx="548640" cy="548640"/>
          </a:xfrm>
        </p:grpSpPr>
        <p:sp>
          <p:nvSpPr>
            <p:cNvPr id="10" name="Oval 9"/>
            <p:cNvSpPr/>
            <p:nvPr/>
          </p:nvSpPr>
          <p:spPr>
            <a:xfrm>
              <a:off x="11361456" y="6195813"/>
              <a:ext cx="548640" cy="548640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  <a14:imgEffect>
                          <a14:brightnessContrast bright="-40000" contrast="20000"/>
                        </a14:imgEffect>
                      </a14:imgLayer>
                    </a14:imgProps>
                  </a:ext>
                </a:extLst>
              </a:blip>
              <a:srcRect/>
              <a:tile tx="5080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1" name="Oval 10"/>
            <p:cNvSpPr/>
            <p:nvPr/>
          </p:nvSpPr>
          <p:spPr>
            <a:xfrm>
              <a:off x="11396488" y="6230844"/>
              <a:ext cx="478576" cy="478578"/>
            </a:xfrm>
            <a:prstGeom prst="ellipse">
              <a:avLst/>
            </a:prstGeom>
            <a:noFill/>
            <a:ln w="12700" cap="flat" cmpd="sng" algn="ctr">
              <a:solidFill>
                <a:sysClr val="window" lastClr="FFFFFF"/>
              </a:solidFill>
              <a:prstDash val="solid"/>
            </a:ln>
            <a:effectLst/>
          </p:spPr>
        </p:sp>
      </p:grp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48FF8E-AD32-46ED-BB24-5B840C929D2C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182525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8303740" y="0"/>
            <a:ext cx="3888259" cy="6857999"/>
          </a:xfrm>
          <a:prstGeom prst="rect">
            <a:avLst/>
          </a:prstGeom>
          <a:blipFill dpi="0" rotWithShape="1">
            <a:blip r:embed="rId2">
              <a:alphaModFix amt="60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49640" y="685800"/>
            <a:ext cx="3200400" cy="1737360"/>
          </a:xfrm>
        </p:spPr>
        <p:txBody>
          <a:bodyPr anchor="b">
            <a:normAutofit/>
          </a:bodyPr>
          <a:lstStyle>
            <a:lvl1pPr>
              <a:defRPr sz="32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0"/>
            <a:ext cx="8303740" cy="6858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49640" y="2423160"/>
            <a:ext cx="3200400" cy="329184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4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0575E-1F45-4D7B-893C-A9614C9FC59C}" type="datetimeFigureOut">
              <a:rPr lang="de-CH" smtClean="0"/>
              <a:t>22.03.21</a:t>
            </a:fld>
            <a:endParaRPr lang="de-CH"/>
          </a:p>
        </p:txBody>
      </p:sp>
      <p:grpSp>
        <p:nvGrpSpPr>
          <p:cNvPr id="8" name="Group 7"/>
          <p:cNvGrpSpPr>
            <a:grpSpLocks noChangeAspect="1"/>
          </p:cNvGrpSpPr>
          <p:nvPr/>
        </p:nvGrpSpPr>
        <p:grpSpPr>
          <a:xfrm>
            <a:off x="11401725" y="6229681"/>
            <a:ext cx="457200" cy="457200"/>
            <a:chOff x="11361456" y="6195813"/>
            <a:chExt cx="548640" cy="548640"/>
          </a:xfrm>
        </p:grpSpPr>
        <p:sp>
          <p:nvSpPr>
            <p:cNvPr id="9" name="Oval 8"/>
            <p:cNvSpPr/>
            <p:nvPr/>
          </p:nvSpPr>
          <p:spPr>
            <a:xfrm>
              <a:off x="11361456" y="6195813"/>
              <a:ext cx="548640" cy="548640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  <a14:imgEffect>
                          <a14:brightnessContrast bright="-40000" contrast="20000"/>
                        </a14:imgEffect>
                      </a14:imgLayer>
                    </a14:imgProps>
                  </a:ext>
                </a:extLst>
              </a:blip>
              <a:srcRect/>
              <a:tile tx="5080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0" name="Oval 9"/>
            <p:cNvSpPr/>
            <p:nvPr/>
          </p:nvSpPr>
          <p:spPr>
            <a:xfrm>
              <a:off x="11396488" y="6230844"/>
              <a:ext cx="478576" cy="478578"/>
            </a:xfrm>
            <a:prstGeom prst="ellipse">
              <a:avLst/>
            </a:prstGeom>
            <a:noFill/>
            <a:ln w="12700" cap="flat" cmpd="sng" algn="ctr">
              <a:solidFill>
                <a:sysClr val="window" lastClr="FFFFFF"/>
              </a:solidFill>
              <a:prstDash val="solid"/>
            </a:ln>
            <a:effectLst/>
          </p:spPr>
        </p:sp>
      </p:grp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48FF8E-AD32-46ED-BB24-5B840C929D2C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39342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microsoft.com/office/2007/relationships/hdphoto" Target="../media/hdphoto1.wdp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69848" y="484632"/>
            <a:ext cx="10058400" cy="16093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9848" y="2121408"/>
            <a:ext cx="10058400" cy="40507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964424" y="6272784"/>
            <a:ext cx="32735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fld id="{E560575E-1F45-4D7B-893C-A9614C9FC59C}" type="datetimeFigureOut">
              <a:rPr lang="de-CH" smtClean="0"/>
              <a:t>22.03.21</a:t>
            </a:fld>
            <a:endParaRPr lang="de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8136" y="6272784"/>
            <a:ext cx="63276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2"/>
                </a:solidFill>
              </a:defRPr>
            </a:lvl1pPr>
          </a:lstStyle>
          <a:p>
            <a:endParaRPr lang="de-CH"/>
          </a:p>
        </p:txBody>
      </p:sp>
      <p:grpSp>
        <p:nvGrpSpPr>
          <p:cNvPr id="7" name="Group 6"/>
          <p:cNvGrpSpPr>
            <a:grpSpLocks noChangeAspect="1"/>
          </p:cNvGrpSpPr>
          <p:nvPr/>
        </p:nvGrpSpPr>
        <p:grpSpPr>
          <a:xfrm>
            <a:off x="11401725" y="6229681"/>
            <a:ext cx="457200" cy="457200"/>
            <a:chOff x="11361456" y="6195813"/>
            <a:chExt cx="548640" cy="548640"/>
          </a:xfrm>
        </p:grpSpPr>
        <p:sp>
          <p:nvSpPr>
            <p:cNvPr id="8" name="Oval 7"/>
            <p:cNvSpPr/>
            <p:nvPr/>
          </p:nvSpPr>
          <p:spPr>
            <a:xfrm>
              <a:off x="11361456" y="6195813"/>
              <a:ext cx="548640" cy="548640"/>
            </a:xfrm>
            <a:prstGeom prst="ellipse">
              <a:avLst/>
            </a:prstGeom>
            <a:blipFill dpi="0" rotWithShape="1">
              <a:blip r:embed="rId15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16">
                        <a14:imgEffect>
                          <a14:saturation sat="95000"/>
                        </a14:imgEffect>
                        <a14:imgEffect>
                          <a14:brightnessContrast bright="-40000" contrast="20000"/>
                        </a14:imgEffect>
                      </a14:imgLayer>
                    </a14:imgProps>
                  </a:ext>
                </a:extLst>
              </a:blip>
              <a:srcRect/>
              <a:tile tx="5080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9" name="Oval 8"/>
            <p:cNvSpPr/>
            <p:nvPr/>
          </p:nvSpPr>
          <p:spPr>
            <a:xfrm>
              <a:off x="11396488" y="6230844"/>
              <a:ext cx="478576" cy="478578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</p:sp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11128" y="6272784"/>
            <a:ext cx="6400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0" b="1">
                <a:solidFill>
                  <a:srgbClr val="FFFFFF"/>
                </a:solidFill>
                <a:latin typeface="+mj-lt"/>
              </a:defRPr>
            </a:lvl1pPr>
          </a:lstStyle>
          <a:p>
            <a:fld id="{B648FF8E-AD32-46ED-BB24-5B840C929D2C}" type="slidenum">
              <a:rPr lang="de-CH" smtClean="0"/>
              <a:t>‹#›</a:t>
            </a:fld>
            <a:endParaRPr lang="de-CH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0C6760D-68C8-4263-A2C7-65208F28CE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817537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7" imgW="473" imgH="473" progId="TCLayout.ActiveDocument.1">
                  <p:embed/>
                </p:oleObj>
              </mc:Choice>
              <mc:Fallback>
                <p:oleObj name="think-cell Slide" r:id="rId17" imgW="473" imgH="47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0C6760D-68C8-4263-A2C7-65208F28CE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556575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400" kern="1200" cap="all" baseline="0">
          <a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tile tx="6350" ty="-127000" sx="65000" sy="64000" flip="none" algn="tl"/>
          </a:blip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microsoft.com/office/2007/relationships/hdphoto" Target="../media/hdphoto2.wdp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2.xml"/><Relationship Id="rId7" Type="http://schemas.microsoft.com/office/2007/relationships/hdphoto" Target="../media/hdphoto2.wdp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2.xml"/><Relationship Id="rId7" Type="http://schemas.microsoft.com/office/2007/relationships/hdphoto" Target="../media/hdphoto2.wdp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4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28C5300-12BE-4B14-A737-CFCBC55F7F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35783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28C5300-12BE-4B14-A737-CFCBC55F7F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1CEEE3B-7D0B-4DA3-9644-43996511AF2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CH" dirty="0"/>
              <a:t>Equal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8791263-7376-4A56-8740-B530917548A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lnSpcReduction="10000"/>
          </a:bodyPr>
          <a:lstStyle/>
          <a:p>
            <a:r>
              <a:rPr lang="de-CH" dirty="0"/>
              <a:t>Gruppe 1</a:t>
            </a:r>
          </a:p>
          <a:p>
            <a:r>
              <a:rPr lang="de-CH" dirty="0"/>
              <a:t>Raphael Gerber, Christophe Leupi, Sabina Löffel, Igor Stojanovic</a:t>
            </a:r>
          </a:p>
        </p:txBody>
      </p:sp>
    </p:spTree>
    <p:extLst>
      <p:ext uri="{BB962C8B-B14F-4D97-AF65-F5344CB8AC3E}">
        <p14:creationId xmlns:p14="http://schemas.microsoft.com/office/powerpoint/2010/main" val="36699727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189679-57EC-4062-97D3-CD657C1ED4B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0423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189679-57EC-4062-97D3-CD657C1ED4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81D4600-DB62-4732-B024-EE7C978DCC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ANALYSE UND DESIGN</a:t>
            </a:r>
          </a:p>
        </p:txBody>
      </p:sp>
      <p:pic>
        <p:nvPicPr>
          <p:cNvPr id="6" name="Grafik 17">
            <a:extLst>
              <a:ext uri="{FF2B5EF4-FFF2-40B4-BE49-F238E27FC236}">
                <a16:creationId xmlns:a16="http://schemas.microsoft.com/office/drawing/2014/main" id="{82110B13-5936-4898-B48F-9EB5CD75C3FF}"/>
              </a:ext>
            </a:extLst>
          </p:cNvPr>
          <p:cNvPicPr>
            <a:picLocks noGrp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777" y="2353511"/>
            <a:ext cx="2472484" cy="2282658"/>
          </a:xfrm>
          <a:prstGeom prst="rect">
            <a:avLst/>
          </a:prstGeom>
        </p:spPr>
      </p:pic>
      <p:pic>
        <p:nvPicPr>
          <p:cNvPr id="7" name="Grafik 27">
            <a:extLst>
              <a:ext uri="{FF2B5EF4-FFF2-40B4-BE49-F238E27FC236}">
                <a16:creationId xmlns:a16="http://schemas.microsoft.com/office/drawing/2014/main" id="{DB36EEBF-EC17-4F7E-A53D-E48F2AB7A9E8}"/>
              </a:ext>
            </a:extLst>
          </p:cNvPr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7608" y="1912352"/>
            <a:ext cx="3694581" cy="4062639"/>
          </a:xfrm>
          <a:prstGeom prst="rect">
            <a:avLst/>
          </a:prstGeom>
        </p:spPr>
      </p:pic>
      <p:pic>
        <p:nvPicPr>
          <p:cNvPr id="8" name="Grafik 31">
            <a:extLst>
              <a:ext uri="{FF2B5EF4-FFF2-40B4-BE49-F238E27FC236}">
                <a16:creationId xmlns:a16="http://schemas.microsoft.com/office/drawing/2014/main" id="{C6AA728A-9BCA-469B-9914-4A59A1FA4A26}"/>
              </a:ext>
            </a:extLst>
          </p:cNvPr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2536" y="1854199"/>
            <a:ext cx="3285832" cy="4120791"/>
          </a:xfrm>
          <a:prstGeom prst="rect">
            <a:avLst/>
          </a:prstGeom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051B9FDB-DBA2-4F5A-A613-4304ED99A88C}"/>
              </a:ext>
            </a:extLst>
          </p:cNvPr>
          <p:cNvCxnSpPr/>
          <p:nvPr/>
        </p:nvCxnSpPr>
        <p:spPr>
          <a:xfrm>
            <a:off x="3217261" y="3745832"/>
            <a:ext cx="78034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5C412240-C99A-4550-92A0-0C9E7C24D8EF}"/>
              </a:ext>
            </a:extLst>
          </p:cNvPr>
          <p:cNvCxnSpPr/>
          <p:nvPr/>
        </p:nvCxnSpPr>
        <p:spPr>
          <a:xfrm>
            <a:off x="7692189" y="3725780"/>
            <a:ext cx="78034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17855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5CA52E-D1DB-4832-8A59-1460EFD689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22142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5CA52E-D1DB-4832-8A59-1460EFD689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3229097-3E52-4314-BA19-38A5197248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Ergonomie-Überlegungen</a:t>
            </a:r>
          </a:p>
        </p:txBody>
      </p:sp>
      <p:pic>
        <p:nvPicPr>
          <p:cNvPr id="5" name="Grafik 13">
            <a:extLst>
              <a:ext uri="{FF2B5EF4-FFF2-40B4-BE49-F238E27FC236}">
                <a16:creationId xmlns:a16="http://schemas.microsoft.com/office/drawing/2014/main" id="{B025B5DA-7EAB-46F3-853C-BCE039C403D3}"/>
              </a:ext>
            </a:extLst>
          </p:cNvPr>
          <p:cNvPicPr>
            <a:picLocks noGrp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4661" y="1682720"/>
            <a:ext cx="7702678" cy="5036666"/>
          </a:xfrm>
          <a:prstGeom prst="rect">
            <a:avLst/>
          </a:prstGeom>
          <a:ln>
            <a:noFill/>
          </a:ln>
          <a:effectLst/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273AA9A-3C25-4970-950D-80B83B093482}"/>
              </a:ext>
            </a:extLst>
          </p:cNvPr>
          <p:cNvSpPr/>
          <p:nvPr/>
        </p:nvSpPr>
        <p:spPr>
          <a:xfrm>
            <a:off x="6219825" y="1682720"/>
            <a:ext cx="1762125" cy="394335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E0655915-932F-42D9-8D2F-C9A820685BA9}"/>
              </a:ext>
            </a:extLst>
          </p:cNvPr>
          <p:cNvCxnSpPr/>
          <p:nvPr/>
        </p:nvCxnSpPr>
        <p:spPr>
          <a:xfrm>
            <a:off x="7981950" y="2773280"/>
            <a:ext cx="78034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6A913903-A939-4106-ADA8-A525D75E4BF6}"/>
              </a:ext>
            </a:extLst>
          </p:cNvPr>
          <p:cNvSpPr txBox="1"/>
          <p:nvPr/>
        </p:nvSpPr>
        <p:spPr>
          <a:xfrm>
            <a:off x="8786908" y="2588614"/>
            <a:ext cx="14287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CH" dirty="0"/>
              <a:t>1 Template</a:t>
            </a:r>
          </a:p>
        </p:txBody>
      </p:sp>
    </p:spTree>
    <p:extLst>
      <p:ext uri="{BB962C8B-B14F-4D97-AF65-F5344CB8AC3E}">
        <p14:creationId xmlns:p14="http://schemas.microsoft.com/office/powerpoint/2010/main" val="28207163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24217-2689-442E-87C4-D7319D8844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2906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24217-2689-442E-87C4-D7319D8844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E009DD9B-5EE2-4C0D-8B2B-351C8C1022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720DB99-7745-4E75-9D96-AAB6D55C53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84504" y="464119"/>
            <a:ext cx="10222992" cy="80683"/>
          </a:xfrm>
          <a:prstGeom prst="rect">
            <a:avLst/>
          </a:prstGeom>
          <a:blipFill dpi="0" rotWithShape="1">
            <a:blip r:embed="rId6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6200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CH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68803C4-E159-4360-B7BB-74205C8F78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84504" y="601952"/>
            <a:ext cx="10222992" cy="1385874"/>
          </a:xfrm>
          <a:prstGeom prst="rect">
            <a:avLst/>
          </a:prstGeom>
          <a:blipFill dpi="0" rotWithShape="1">
            <a:blip r:embed="rId6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CH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04B0465-3B07-49BF-BEA7-D814762462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84504" y="2038655"/>
            <a:ext cx="10222992" cy="80683"/>
          </a:xfrm>
          <a:prstGeom prst="rect">
            <a:avLst/>
          </a:prstGeom>
          <a:blipFill dpi="0" rotWithShape="1">
            <a:blip r:embed="rId6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175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CH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9F4017-1856-4D52-97F2-E3B54249FA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9848" y="484632"/>
            <a:ext cx="10058400" cy="1609344"/>
          </a:xfrm>
        </p:spPr>
        <p:txBody>
          <a:bodyPr vert="horz">
            <a:normAutofit/>
          </a:bodyPr>
          <a:lstStyle/>
          <a:p>
            <a:r>
              <a:rPr lang="de-CH" dirty="0"/>
              <a:t>Moderner Card-Aufbau in Containern</a:t>
            </a:r>
          </a:p>
        </p:txBody>
      </p:sp>
      <p:pic>
        <p:nvPicPr>
          <p:cNvPr id="4" name="Grafik 21">
            <a:extLst>
              <a:ext uri="{FF2B5EF4-FFF2-40B4-BE49-F238E27FC236}">
                <a16:creationId xmlns:a16="http://schemas.microsoft.com/office/drawing/2014/main" id="{8B752D0E-0EA0-4F24-A1E4-3010EBD8EDBB}"/>
              </a:ext>
            </a:extLst>
          </p:cNvPr>
          <p:cNvPicPr>
            <a:picLocks/>
          </p:cNvPicPr>
          <p:nvPr/>
        </p:nvPicPr>
        <p:blipFill rotWithShape="1">
          <a:blip r:embed="rId8"/>
          <a:srcRect r="687" b="-3"/>
          <a:stretch/>
        </p:blipFill>
        <p:spPr>
          <a:xfrm>
            <a:off x="1007196" y="2265037"/>
            <a:ext cx="5088800" cy="3907158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2ECAD2A-1532-4D7F-8743-772EB0C7B6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96216" y="2320412"/>
            <a:ext cx="4632031" cy="3851787"/>
          </a:xfrm>
        </p:spPr>
        <p:txBody>
          <a:bodyPr anchor="ctr">
            <a:normAutofit/>
          </a:bodyPr>
          <a:lstStyle/>
          <a:p>
            <a:r>
              <a:rPr lang="en-US" dirty="0" err="1"/>
              <a:t>Darstellung</a:t>
            </a:r>
            <a:r>
              <a:rPr lang="en-US" dirty="0"/>
              <a:t> der Module </a:t>
            </a:r>
            <a:r>
              <a:rPr lang="en-US" dirty="0" err="1"/>
              <a:t>mit</a:t>
            </a:r>
            <a:r>
              <a:rPr lang="en-US" dirty="0"/>
              <a:t> "Cards"</a:t>
            </a:r>
          </a:p>
          <a:p>
            <a:r>
              <a:rPr lang="en-US" dirty="0" err="1"/>
              <a:t>Möglichkeit</a:t>
            </a:r>
            <a:r>
              <a:rPr lang="en-US" dirty="0"/>
              <a:t> </a:t>
            </a:r>
            <a:r>
              <a:rPr lang="en-US" dirty="0" err="1"/>
              <a:t>zum</a:t>
            </a:r>
            <a:r>
              <a:rPr lang="en-US" dirty="0"/>
              <a:t> </a:t>
            </a:r>
            <a:r>
              <a:rPr lang="en-US" dirty="0" err="1"/>
              <a:t>Filtern</a:t>
            </a:r>
            <a:r>
              <a:rPr lang="en-US" dirty="0"/>
              <a:t> </a:t>
            </a:r>
            <a:r>
              <a:rPr lang="en-US" dirty="0" err="1"/>
              <a:t>für</a:t>
            </a:r>
            <a:r>
              <a:rPr lang="en-US" dirty="0"/>
              <a:t> CAS-</a:t>
            </a:r>
            <a:r>
              <a:rPr lang="en-US" dirty="0" err="1"/>
              <a:t>Verantwortliche</a:t>
            </a:r>
            <a:r>
              <a:rPr lang="en-US" dirty="0"/>
              <a:t>, </a:t>
            </a:r>
            <a:r>
              <a:rPr lang="en-US" dirty="0" err="1"/>
              <a:t>Dozenten</a:t>
            </a:r>
            <a:r>
              <a:rPr lang="en-US" dirty="0"/>
              <a:t> und</a:t>
            </a:r>
            <a:br>
              <a:rPr lang="en-US" dirty="0"/>
            </a:br>
            <a:r>
              <a:rPr lang="en-US" dirty="0" err="1"/>
              <a:t>Assistenz</a:t>
            </a:r>
            <a:endParaRPr lang="en-US" dirty="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49B7FFA5-14CB-4A4F-9BCC-CA3AA5D9D2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401725" y="6229681"/>
            <a:ext cx="457200" cy="457200"/>
          </a:xfrm>
          <a:prstGeom prst="ellipse">
            <a:avLst/>
          </a:prstGeom>
          <a:blipFill dpi="0" rotWithShape="1">
            <a:blip r:embed="rId9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rcRect/>
            <a:tile tx="50800" ty="0" sx="85000" sy="85000" flip="none" algn="tl"/>
          </a:blip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ckwell Extra Bold" pitchFamily="18" charset="0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04E48745-7512-4EC2-9E20-9092D12150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430918" y="6258874"/>
            <a:ext cx="398813" cy="398815"/>
          </a:xfrm>
          <a:prstGeom prst="ellipse">
            <a:avLst/>
          </a:prstGeom>
          <a:noFill/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31916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A6CF82-5817-4570-B17B-2B19C47211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4865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A6CF82-5817-4570-B17B-2B19C47211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E009DD9B-5EE2-4C0D-8B2B-351C8C1022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720DB99-7745-4E75-9D96-AAB6D55C53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84504" y="464119"/>
            <a:ext cx="10222992" cy="80683"/>
          </a:xfrm>
          <a:prstGeom prst="rect">
            <a:avLst/>
          </a:prstGeom>
          <a:blipFill dpi="0" rotWithShape="1">
            <a:blip r:embed="rId6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6200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CH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68803C4-E159-4360-B7BB-74205C8F78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84504" y="601952"/>
            <a:ext cx="10222992" cy="1385874"/>
          </a:xfrm>
          <a:prstGeom prst="rect">
            <a:avLst/>
          </a:prstGeom>
          <a:blipFill dpi="0" rotWithShape="1">
            <a:blip r:embed="rId6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CH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04B0465-3B07-49BF-BEA7-D814762462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84504" y="2038655"/>
            <a:ext cx="10222992" cy="80683"/>
          </a:xfrm>
          <a:prstGeom prst="rect">
            <a:avLst/>
          </a:prstGeom>
          <a:blipFill dpi="0" rotWithShape="1">
            <a:blip r:embed="rId6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175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CH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183F5A-5E28-46AB-9988-BF17004802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9848" y="484632"/>
            <a:ext cx="10058400" cy="1609344"/>
          </a:xfrm>
        </p:spPr>
        <p:txBody>
          <a:bodyPr vert="horz">
            <a:normAutofit/>
          </a:bodyPr>
          <a:lstStyle/>
          <a:p>
            <a:r>
              <a:rPr lang="de-CH" dirty="0"/>
              <a:t>Alles auf einen Blic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F19ED9-E29F-4312-96B6-93F42FFEB1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96216" y="2320412"/>
            <a:ext cx="4632031" cy="3851787"/>
          </a:xfrm>
        </p:spPr>
        <p:txBody>
          <a:bodyPr anchor="ctr">
            <a:normAutofit/>
          </a:bodyPr>
          <a:lstStyle/>
          <a:p>
            <a:r>
              <a:rPr lang="de-CH" dirty="0"/>
              <a:t>Bereitstellung der benötigten Informationen auf einen Blick</a:t>
            </a:r>
          </a:p>
          <a:p>
            <a:r>
              <a:rPr lang="de-CH" dirty="0"/>
              <a:t>Hilfestellung mit Farben (Eingabehilfe, Bestanden, Nicht-Bestanden, fehlende Noten, etc.)</a:t>
            </a:r>
          </a:p>
          <a:p>
            <a:r>
              <a:rPr lang="de-CH" dirty="0"/>
              <a:t>Statistiken geben schnellen Überblick</a:t>
            </a:r>
          </a:p>
          <a:p>
            <a:endParaRPr lang="de-CH" dirty="0"/>
          </a:p>
          <a:p>
            <a:endParaRPr lang="de-CH" dirty="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49B7FFA5-14CB-4A4F-9BCC-CA3AA5D9D2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401725" y="6229681"/>
            <a:ext cx="457200" cy="457200"/>
          </a:xfrm>
          <a:prstGeom prst="ellipse">
            <a:avLst/>
          </a:prstGeom>
          <a:blipFill dpi="0" rotWithShape="1">
            <a:blip r:embed="rId8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rcRect/>
            <a:tile tx="50800" ty="0" sx="85000" sy="85000" flip="none" algn="tl"/>
          </a:blip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ckwell Extra Bold" pitchFamily="18" charset="0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4E48745-7512-4EC2-9E20-9092D12150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430918" y="6258874"/>
            <a:ext cx="398813" cy="398815"/>
          </a:xfrm>
          <a:prstGeom prst="ellipse">
            <a:avLst/>
          </a:prstGeom>
          <a:noFill/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" name="Picture 9" descr="Table&#10;&#10;Description automatically generated">
            <a:extLst>
              <a:ext uri="{FF2B5EF4-FFF2-40B4-BE49-F238E27FC236}">
                <a16:creationId xmlns:a16="http://schemas.microsoft.com/office/drawing/2014/main" id="{49E17580-1D15-7F47-A167-277C40882DA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504" y="2220071"/>
            <a:ext cx="4777941" cy="4292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0139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7F2B7D0-E847-4CE6-90FF-B38F1FFB73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8941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7F2B7D0-E847-4CE6-90FF-B38F1FFB73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E009DD9B-5EE2-4C0D-8B2B-351C8C1022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720DB99-7745-4E75-9D96-AAB6D55C53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84504" y="464119"/>
            <a:ext cx="10222992" cy="80683"/>
          </a:xfrm>
          <a:prstGeom prst="rect">
            <a:avLst/>
          </a:prstGeom>
          <a:blipFill dpi="0" rotWithShape="1">
            <a:blip r:embed="rId6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6200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CH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68803C4-E159-4360-B7BB-74205C8F78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84504" y="601952"/>
            <a:ext cx="10222992" cy="1385874"/>
          </a:xfrm>
          <a:prstGeom prst="rect">
            <a:avLst/>
          </a:prstGeom>
          <a:blipFill dpi="0" rotWithShape="1">
            <a:blip r:embed="rId6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CH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04B0465-3B07-49BF-BEA7-D814762462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84504" y="2038655"/>
            <a:ext cx="10222992" cy="80683"/>
          </a:xfrm>
          <a:prstGeom prst="rect">
            <a:avLst/>
          </a:prstGeom>
          <a:blipFill dpi="0" rotWithShape="1">
            <a:blip r:embed="rId6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175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CH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4C1A9C-DC61-4B09-B56A-68B449B30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9848" y="484632"/>
            <a:ext cx="10058400" cy="1609344"/>
          </a:xfrm>
        </p:spPr>
        <p:txBody>
          <a:bodyPr vert="horz">
            <a:normAutofit/>
          </a:bodyPr>
          <a:lstStyle/>
          <a:p>
            <a:r>
              <a:rPr lang="de-CH" dirty="0"/>
              <a:t>Vermeidung von Medienbrüchen</a:t>
            </a:r>
          </a:p>
        </p:txBody>
      </p:sp>
      <p:pic>
        <p:nvPicPr>
          <p:cNvPr id="4" name="Grafik 30" descr="Ein Bild, das Text enthält.&#10;&#10;Automatisch generierte Beschreibung">
            <a:extLst>
              <a:ext uri="{FF2B5EF4-FFF2-40B4-BE49-F238E27FC236}">
                <a16:creationId xmlns:a16="http://schemas.microsoft.com/office/drawing/2014/main" id="{27706A37-7D0B-4201-B389-8639D01F4B39}"/>
              </a:ext>
            </a:extLst>
          </p:cNvPr>
          <p:cNvPicPr/>
          <p:nvPr/>
        </p:nvPicPr>
        <p:blipFill rotWithShape="1">
          <a:blip r:embed="rId8"/>
          <a:srcRect r="735" b="3"/>
          <a:stretch/>
        </p:blipFill>
        <p:spPr>
          <a:xfrm>
            <a:off x="1007196" y="2265037"/>
            <a:ext cx="5088800" cy="3907158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40BD313-4CB4-4429-9035-39B8EF593D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96216" y="2320412"/>
            <a:ext cx="4632031" cy="3851787"/>
          </a:xfrm>
        </p:spPr>
        <p:txBody>
          <a:bodyPr anchor="ctr">
            <a:normAutofit/>
          </a:bodyPr>
          <a:lstStyle/>
          <a:p>
            <a:r>
              <a:rPr lang="de-CH" dirty="0"/>
              <a:t>Benachrichtigungen möglich, welche über den installierten</a:t>
            </a:r>
            <a:br>
              <a:rPr lang="de-CH" dirty="0"/>
            </a:br>
            <a:r>
              <a:rPr lang="de-CH" dirty="0"/>
              <a:t>E-Mail-Client versendet werden</a:t>
            </a:r>
          </a:p>
          <a:p>
            <a:r>
              <a:rPr lang="de-CH" dirty="0"/>
              <a:t>Vorgefertigte Templates für das Nachfassen bei fehlenden Noten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49B7FFA5-14CB-4A4F-9BCC-CA3AA5D9D2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401725" y="6229681"/>
            <a:ext cx="457200" cy="457200"/>
          </a:xfrm>
          <a:prstGeom prst="ellipse">
            <a:avLst/>
          </a:prstGeom>
          <a:blipFill dpi="0" rotWithShape="1">
            <a:blip r:embed="rId9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rcRect/>
            <a:tile tx="50800" ty="0" sx="85000" sy="85000" flip="none" algn="tl"/>
          </a:blip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ckwell Extra Bold" pitchFamily="18" charset="0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4E48745-7512-4EC2-9E20-9092D12150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430918" y="6258874"/>
            <a:ext cx="398813" cy="398815"/>
          </a:xfrm>
          <a:prstGeom prst="ellipse">
            <a:avLst/>
          </a:prstGeom>
          <a:noFill/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13648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4DD78E5-F29C-4801-9C9D-A9CDD4B584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9514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4DD78E5-F29C-4801-9C9D-A9CDD4B584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767FAFF-6076-4BEF-8B58-88B610BD1E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Spezielles aus der Implementations-pha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0F4876-FAAC-4D4A-8A24-15B6507A97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CH" dirty="0"/>
              <a:t>Dynamischer Aufbau von Containern im Module-</a:t>
            </a:r>
            <a:r>
              <a:rPr lang="de-CH" dirty="0" err="1"/>
              <a:t>Overview</a:t>
            </a:r>
            <a:r>
              <a:rPr lang="de-CH" dirty="0"/>
              <a:t> auf Basis der Anzahl Module </a:t>
            </a:r>
          </a:p>
          <a:p>
            <a:r>
              <a:rPr lang="de-CH" dirty="0"/>
              <a:t>Berechnungen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ly</a:t>
            </a:r>
            <a:r>
              <a:rPr lang="de-CH" dirty="0"/>
              <a:t> im Frontend bei Änderungen in den Kursen (Durchschnitte, #Bestandene Studenten, #Nicht-Bestandene Studenten,  etc.)</a:t>
            </a:r>
          </a:p>
          <a:p>
            <a:r>
              <a:rPr lang="de-CH" dirty="0"/>
              <a:t>Überprüfung von Berechtigungen bei der Erfassung / Änderung von Noten </a:t>
            </a:r>
            <a:br>
              <a:rPr lang="de-CH" dirty="0"/>
            </a:br>
            <a:r>
              <a:rPr lang="de-CH" dirty="0"/>
              <a:t>(Status-Code 403 </a:t>
            </a:r>
            <a:r>
              <a:rPr lang="de-CH" dirty="0" err="1"/>
              <a:t>Forbidden</a:t>
            </a:r>
            <a:r>
              <a:rPr lang="de-CH" dirty="0"/>
              <a:t>)</a:t>
            </a:r>
          </a:p>
          <a:p>
            <a:r>
              <a:rPr lang="de-CH" dirty="0"/>
              <a:t>Unterscheidung zwischen Post und Put-</a:t>
            </a:r>
            <a:r>
              <a:rPr lang="de-CH" dirty="0" err="1"/>
              <a:t>Requests</a:t>
            </a:r>
            <a:r>
              <a:rPr lang="de-CH" dirty="0"/>
              <a:t> auf Basis der gespeicherten Versions-Nummern im Frontend</a:t>
            </a:r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0987738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DDEC545-62BC-4BAB-8728-9ED27223FF7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1080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DDEC545-62BC-4BAB-8728-9ED27223FF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464FB4-97B0-4B63-8DD9-31D9A5E2A4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DEMONSTRATION PROTOTYP</a:t>
            </a:r>
          </a:p>
        </p:txBody>
      </p:sp>
      <p:pic>
        <p:nvPicPr>
          <p:cNvPr id="2050" name="Picture 2" descr="Meme: &quot;Enjoy&quot; - All Templates - Meme-arsenal.com">
            <a:extLst>
              <a:ext uri="{FF2B5EF4-FFF2-40B4-BE49-F238E27FC236}">
                <a16:creationId xmlns:a16="http://schemas.microsoft.com/office/drawing/2014/main" id="{A0209A3C-CF02-46BC-8D7F-15BA81E279C4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1" b="5407"/>
          <a:stretch/>
        </p:blipFill>
        <p:spPr bwMode="auto">
          <a:xfrm>
            <a:off x="2723092" y="2120900"/>
            <a:ext cx="6735233" cy="3832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398923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27EFDB1-B293-4206-8EC1-1D50F92194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4218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27EFDB1-B293-4206-8EC1-1D50F92194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207BB10-8406-4737-B0C7-57E19E0EA4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Lehren und Erfahrungen aus dem Projek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60B96C-8BDF-415C-A95A-63410D82D8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69848" y="2121408"/>
            <a:ext cx="9245727" cy="4050792"/>
          </a:xfrm>
        </p:spPr>
        <p:txBody>
          <a:bodyPr/>
          <a:lstStyle/>
          <a:p>
            <a:r>
              <a:rPr lang="en-US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If you want to go far, go together</a:t>
            </a:r>
          </a:p>
          <a:p>
            <a:r>
              <a:rPr lang="de-CH" dirty="0">
                <a:solidFill>
                  <a:srgbClr val="202124"/>
                </a:solidFill>
                <a:latin typeface="arial" panose="020B0604020202020204" pitchFamily="34" charset="0"/>
              </a:rPr>
              <a:t>Zunächst unterschiedliche Vorstellung (</a:t>
            </a:r>
            <a:r>
              <a:rPr lang="de-CH" dirty="0" err="1">
                <a:solidFill>
                  <a:srgbClr val="202124"/>
                </a:solidFill>
                <a:latin typeface="arial" panose="020B0604020202020204" pitchFamily="34" charset="0"/>
              </a:rPr>
              <a:t>Forming</a:t>
            </a:r>
            <a:r>
              <a:rPr lang="de-CH" dirty="0">
                <a:solidFill>
                  <a:srgbClr val="202124"/>
                </a:solidFill>
                <a:latin typeface="arial" panose="020B0604020202020204" pitchFamily="34" charset="0"/>
              </a:rPr>
              <a:t>)</a:t>
            </a:r>
          </a:p>
          <a:p>
            <a:r>
              <a:rPr lang="de-CH" dirty="0">
                <a:solidFill>
                  <a:srgbClr val="202124"/>
                </a:solidFill>
                <a:latin typeface="arial" panose="020B0604020202020204" pitchFamily="34" charset="0"/>
              </a:rPr>
              <a:t>Gruppendiskussion über das beste Vorgehen (</a:t>
            </a:r>
            <a:r>
              <a:rPr lang="de-CH" dirty="0" err="1">
                <a:solidFill>
                  <a:srgbClr val="202124"/>
                </a:solidFill>
                <a:latin typeface="arial" panose="020B0604020202020204" pitchFamily="34" charset="0"/>
              </a:rPr>
              <a:t>Storming</a:t>
            </a:r>
            <a:r>
              <a:rPr lang="de-CH" dirty="0">
                <a:solidFill>
                  <a:srgbClr val="202124"/>
                </a:solidFill>
                <a:latin typeface="arial" panose="020B0604020202020204" pitchFamily="34" charset="0"/>
              </a:rPr>
              <a:t>)</a:t>
            </a:r>
          </a:p>
          <a:p>
            <a:r>
              <a:rPr lang="de-CH" dirty="0">
                <a:solidFill>
                  <a:srgbClr val="202124"/>
                </a:solidFill>
                <a:latin typeface="arial" panose="020B0604020202020204" pitchFamily="34" charset="0"/>
              </a:rPr>
              <a:t>Einigung auf gemeinsames Vorgehen und fortlaufende Diskussion (</a:t>
            </a:r>
            <a:r>
              <a:rPr lang="de-CH" dirty="0" err="1">
                <a:solidFill>
                  <a:srgbClr val="202124"/>
                </a:solidFill>
                <a:latin typeface="arial" panose="020B0604020202020204" pitchFamily="34" charset="0"/>
              </a:rPr>
              <a:t>Norming</a:t>
            </a:r>
            <a:r>
              <a:rPr lang="de-CH" dirty="0">
                <a:solidFill>
                  <a:srgbClr val="202124"/>
                </a:solidFill>
                <a:latin typeface="arial" panose="020B0604020202020204" pitchFamily="34" charset="0"/>
              </a:rPr>
              <a:t>)</a:t>
            </a:r>
          </a:p>
          <a:p>
            <a:r>
              <a:rPr lang="de-CH" dirty="0">
                <a:solidFill>
                  <a:srgbClr val="202124"/>
                </a:solidFill>
                <a:latin typeface="arial" panose="020B0604020202020204" pitchFamily="34" charset="0"/>
              </a:rPr>
              <a:t>Kontinuierliche Zusammenarbeit zur Erreichung der Ziele (Performing)</a:t>
            </a:r>
          </a:p>
          <a:p>
            <a:r>
              <a:rPr lang="de-CH" dirty="0" err="1">
                <a:solidFill>
                  <a:srgbClr val="202124"/>
                </a:solidFill>
                <a:latin typeface="arial" panose="020B0604020202020204" pitchFamily="34" charset="0"/>
              </a:rPr>
              <a:t>Swagger</a:t>
            </a:r>
            <a:r>
              <a:rPr lang="de-CH" dirty="0">
                <a:solidFill>
                  <a:srgbClr val="202124"/>
                </a:solidFill>
                <a:latin typeface="arial" panose="020B0604020202020204" pitchFamily="34" charset="0"/>
              </a:rPr>
              <a:t> kann mehr als nur API-Dokumentieren</a:t>
            </a:r>
          </a:p>
          <a:p>
            <a:r>
              <a:rPr lang="de-CH" dirty="0">
                <a:solidFill>
                  <a:srgbClr val="202124"/>
                </a:solidFill>
                <a:latin typeface="arial" panose="020B0604020202020204" pitchFamily="34" charset="0"/>
              </a:rPr>
              <a:t>Wir können es kaum erwarten ein Frontend-Framework kennenzulernen</a:t>
            </a:r>
          </a:p>
          <a:p>
            <a:endParaRPr lang="de-CH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endParaRPr lang="en-US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endParaRPr lang="de-CH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BDD820F-73A9-4471-8CBD-BCD54D529C97}"/>
              </a:ext>
            </a:extLst>
          </p:cNvPr>
          <p:cNvSpPr txBox="1">
            <a:spLocks/>
          </p:cNvSpPr>
          <p:nvPr/>
        </p:nvSpPr>
        <p:spPr>
          <a:xfrm>
            <a:off x="1069848" y="2121408"/>
            <a:ext cx="10058400" cy="40507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CH" dirty="0"/>
          </a:p>
          <a:p>
            <a:endParaRPr lang="de-CH" dirty="0"/>
          </a:p>
        </p:txBody>
      </p:sp>
      <p:pic>
        <p:nvPicPr>
          <p:cNvPr id="7" name="Picture 4" descr="Tuckman-Edison Model – Vagile">
            <a:extLst>
              <a:ext uri="{FF2B5EF4-FFF2-40B4-BE49-F238E27FC236}">
                <a16:creationId xmlns:a16="http://schemas.microsoft.com/office/drawing/2014/main" id="{9D65BB3F-94D4-42A7-B193-4E6E4821CF0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7" t="14766" r="10772" b="11263"/>
          <a:stretch/>
        </p:blipFill>
        <p:spPr bwMode="auto">
          <a:xfrm>
            <a:off x="7800974" y="1260729"/>
            <a:ext cx="3932823" cy="2185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37246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Wood Type">
  <a:themeElements>
    <a:clrScheme name="Wood Type">
      <a:dk1>
        <a:sysClr val="windowText" lastClr="000000"/>
      </a:dk1>
      <a:lt1>
        <a:sysClr val="window" lastClr="FFFFFF"/>
      </a:lt1>
      <a:dk2>
        <a:srgbClr val="696464"/>
      </a:dk2>
      <a:lt2>
        <a:srgbClr val="E9E5DC"/>
      </a:lt2>
      <a:accent1>
        <a:srgbClr val="D34817"/>
      </a:accent1>
      <a:accent2>
        <a:srgbClr val="9B2D1F"/>
      </a:accent2>
      <a:accent3>
        <a:srgbClr val="A28E6A"/>
      </a:accent3>
      <a:accent4>
        <a:srgbClr val="956251"/>
      </a:accent4>
      <a:accent5>
        <a:srgbClr val="918485"/>
      </a:accent5>
      <a:accent6>
        <a:srgbClr val="855D5D"/>
      </a:accent6>
      <a:hlink>
        <a:srgbClr val="CC9900"/>
      </a:hlink>
      <a:folHlink>
        <a:srgbClr val="96A9A9"/>
      </a:folHlink>
    </a:clrScheme>
    <a:fontScheme name="Wood Type">
      <a:majorFont>
        <a:latin typeface="Rockwell Condensed" panose="02060603050405020104"/>
        <a:ea typeface=""/>
        <a:cs typeface=""/>
        <a:font script="Grek" typeface="Cambria"/>
        <a:font script="Cyrl" typeface="Cambria"/>
        <a:font script="Jpan" typeface="HG明朝B"/>
        <a:font script="Hang" typeface="바탕"/>
        <a:font script="Hans" typeface="方正姚体"/>
        <a:font script="Hant" typeface="微軟正黑體"/>
        <a:font script="Arab" typeface="Times New Roman"/>
        <a:font script="Hebr" typeface="David"/>
        <a:font script="Thai" typeface="Jasmine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Rockwell" panose="02060603020205020403"/>
        <a:ea typeface=""/>
        <a:cs typeface=""/>
        <a:font script="Grek" typeface="Cambria"/>
        <a:font script="Cyrl" typeface="Cambria"/>
        <a:font script="Jpan" typeface="HG明朝B"/>
        <a:font script="Hang" typeface="바탕"/>
        <a:font script="Hans" typeface="方正姚体"/>
        <a:font script="Hant" typeface="標楷體"/>
        <a:font script="Arab" typeface="Times New Roman"/>
        <a:font script="Hebr" typeface="David"/>
        <a:font script="Thai" typeface="Jasmine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Wood Type">
      <a: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70000"/>
                <a:shade val="63000"/>
              </a:schemeClr>
              <a:schemeClr val="phClr">
                <a:tint val="10000"/>
                <a:satMod val="150000"/>
              </a:schemeClr>
            </a:duotone>
          </a:blip>
          <a:tile tx="0" ty="0" sx="60000" sy="59000" flip="none" algn="tl"/>
        </a:blipFill>
        <a:blipFill rotWithShape="1">
          <a:blip xmlns:r="http://schemas.openxmlformats.org/officeDocument/2006/relationships" r:embed="rId1">
            <a:duotone>
              <a:schemeClr val="phClr">
                <a:shade val="36000"/>
                <a:satMod val="120000"/>
              </a:schemeClr>
              <a:schemeClr val="phClr">
                <a:tint val="40000"/>
              </a:schemeClr>
            </a:duotone>
          </a:blip>
          <a:tile tx="0" ty="0" sx="60000" sy="59000" flip="none" algn="tl"/>
        </a:blip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softEdge rad="12700"/>
          </a:effectLst>
        </a:effectStyle>
        <a:effectStyle>
          <a:effectLst>
            <a:outerShdw blurRad="50800" dist="19050" dir="5400000" algn="tl" rotWithShape="0">
              <a:srgbClr val="000000">
                <a:alpha val="60000"/>
              </a:srgbClr>
            </a:outerShdw>
            <a:softEdge rad="12700"/>
          </a:effectLst>
        </a:effectStyle>
      </a:effectStyleLst>
      <a:bgFillStyleLst>
        <a:solidFill>
          <a:schemeClr val="phClr"/>
        </a:solidFill>
        <a:solidFill>
          <a:schemeClr val="phClr">
            <a:shade val="97000"/>
            <a:satMod val="150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75000"/>
                <a:shade val="58000"/>
                <a:satMod val="120000"/>
              </a:schemeClr>
              <a:schemeClr val="phClr">
                <a:tint val="50000"/>
                <a:shade val="96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ood Type" id="{7ACABC62-BF99-48CF-A9DC-4DB89C7B13DC}" vid="{142A1326-48AB-42A9-8428-CB14AA30176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3090434[[fn=Wood Type]]</Template>
  <TotalTime>10</TotalTime>
  <Words>224</Words>
  <Application>Microsoft Macintosh PowerPoint</Application>
  <PresentationFormat>Widescreen</PresentationFormat>
  <Paragraphs>31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7" baseType="lpstr">
      <vt:lpstr>arial</vt:lpstr>
      <vt:lpstr>Calibri</vt:lpstr>
      <vt:lpstr>Rockwell</vt:lpstr>
      <vt:lpstr>Rockwell Condensed</vt:lpstr>
      <vt:lpstr>Rockwell Extra Bold</vt:lpstr>
      <vt:lpstr>Wingdings</vt:lpstr>
      <vt:lpstr>Wood Type</vt:lpstr>
      <vt:lpstr>think-cell Slide</vt:lpstr>
      <vt:lpstr>Equals</vt:lpstr>
      <vt:lpstr>ANALYSE UND DESIGN</vt:lpstr>
      <vt:lpstr>Ergonomie-Überlegungen</vt:lpstr>
      <vt:lpstr>Moderner Card-Aufbau in Containern</vt:lpstr>
      <vt:lpstr>Alles auf einen Blick</vt:lpstr>
      <vt:lpstr>Vermeidung von Medienbrüchen</vt:lpstr>
      <vt:lpstr>Spezielles aus der Implementations-phase</vt:lpstr>
      <vt:lpstr>DEMONSTRATION PROTOTYP</vt:lpstr>
      <vt:lpstr>Lehren und Erfahrungen aus dem Projek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quals</dc:title>
  <dc:creator>Igor Stojanovic</dc:creator>
  <cp:lastModifiedBy>Raphael Gerber</cp:lastModifiedBy>
  <cp:revision>4</cp:revision>
  <dcterms:created xsi:type="dcterms:W3CDTF">2021-03-22T08:01:44Z</dcterms:created>
  <dcterms:modified xsi:type="dcterms:W3CDTF">2021-03-22T21:33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572d46b7-7eb3-4256-b21d-0b88cbf81fa2_Enabled">
    <vt:lpwstr>true</vt:lpwstr>
  </property>
  <property fmtid="{D5CDD505-2E9C-101B-9397-08002B2CF9AE}" pid="3" name="MSIP_Label_572d46b7-7eb3-4256-b21d-0b88cbf81fa2_SetDate">
    <vt:lpwstr>2021-03-22T08:27:25Z</vt:lpwstr>
  </property>
  <property fmtid="{D5CDD505-2E9C-101B-9397-08002B2CF9AE}" pid="4" name="MSIP_Label_572d46b7-7eb3-4256-b21d-0b88cbf81fa2_Method">
    <vt:lpwstr>Privileged</vt:lpwstr>
  </property>
  <property fmtid="{D5CDD505-2E9C-101B-9397-08002B2CF9AE}" pid="5" name="MSIP_Label_572d46b7-7eb3-4256-b21d-0b88cbf81fa2_Name">
    <vt:lpwstr>572d46b7-7eb3-4256-b21d-0b88cbf81fa2</vt:lpwstr>
  </property>
  <property fmtid="{D5CDD505-2E9C-101B-9397-08002B2CF9AE}" pid="6" name="MSIP_Label_572d46b7-7eb3-4256-b21d-0b88cbf81fa2_SiteId">
    <vt:lpwstr>af7227b1-ac3a-4487-9e9f-ba462bb409d4</vt:lpwstr>
  </property>
  <property fmtid="{D5CDD505-2E9C-101B-9397-08002B2CF9AE}" pid="7" name="MSIP_Label_572d46b7-7eb3-4256-b21d-0b88cbf81fa2_ActionId">
    <vt:lpwstr>59b51ef1-1037-4d82-a2a2-282dcb7abe70</vt:lpwstr>
  </property>
  <property fmtid="{D5CDD505-2E9C-101B-9397-08002B2CF9AE}" pid="8" name="MSIP_Label_572d46b7-7eb3-4256-b21d-0b88cbf81fa2_ContentBits">
    <vt:lpwstr>0</vt:lpwstr>
  </property>
</Properties>
</file>